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A84DFB-66FA-4D99-85CF-B3BE533C0BE4}" v="147" dt="2025-02-27T02:05:14.2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e, Hyo-Sang" userId="63733686-7eee-43c2-ae7a-bb84710167fa" providerId="ADAL" clId="{FCA84DFB-66FA-4D99-85CF-B3BE533C0BE4}"/>
    <pc:docChg chg="undo custSel addSld modSld modMainMaster">
      <pc:chgData name="Lee, Hyo-Sang" userId="63733686-7eee-43c2-ae7a-bb84710167fa" providerId="ADAL" clId="{FCA84DFB-66FA-4D99-85CF-B3BE533C0BE4}" dt="2025-02-27T02:05:20.116" v="1750" actId="113"/>
      <pc:docMkLst>
        <pc:docMk/>
      </pc:docMkLst>
      <pc:sldChg chg="addSp delSp modSp new mod">
        <pc:chgData name="Lee, Hyo-Sang" userId="63733686-7eee-43c2-ae7a-bb84710167fa" providerId="ADAL" clId="{FCA84DFB-66FA-4D99-85CF-B3BE533C0BE4}" dt="2025-02-27T02:05:20.116" v="1750" actId="113"/>
        <pc:sldMkLst>
          <pc:docMk/>
          <pc:sldMk cId="2940661319" sldId="256"/>
        </pc:sldMkLst>
        <pc:spChg chg="del">
          <ac:chgData name="Lee, Hyo-Sang" userId="63733686-7eee-43c2-ae7a-bb84710167fa" providerId="ADAL" clId="{FCA84DFB-66FA-4D99-85CF-B3BE533C0BE4}" dt="2025-02-27T01:32:40.767" v="1" actId="478"/>
          <ac:spMkLst>
            <pc:docMk/>
            <pc:sldMk cId="2940661319" sldId="256"/>
            <ac:spMk id="2" creationId="{9B90D4B2-265A-52C7-BDBF-656A92B80F00}"/>
          </ac:spMkLst>
        </pc:spChg>
        <pc:spChg chg="del">
          <ac:chgData name="Lee, Hyo-Sang" userId="63733686-7eee-43c2-ae7a-bb84710167fa" providerId="ADAL" clId="{FCA84DFB-66FA-4D99-85CF-B3BE533C0BE4}" dt="2025-02-27T01:32:40.767" v="1" actId="478"/>
          <ac:spMkLst>
            <pc:docMk/>
            <pc:sldMk cId="2940661319" sldId="256"/>
            <ac:spMk id="3" creationId="{A75173A5-22A8-F542-2439-8B0B51FF4BD4}"/>
          </ac:spMkLst>
        </pc:spChg>
        <pc:spChg chg="add mod">
          <ac:chgData name="Lee, Hyo-Sang" userId="63733686-7eee-43c2-ae7a-bb84710167fa" providerId="ADAL" clId="{FCA84DFB-66FA-4D99-85CF-B3BE533C0BE4}" dt="2025-02-27T02:05:20.116" v="1750" actId="113"/>
          <ac:spMkLst>
            <pc:docMk/>
            <pc:sldMk cId="2940661319" sldId="256"/>
            <ac:spMk id="5" creationId="{700726A2-6D1F-B9DC-DA62-ABB9790C331D}"/>
          </ac:spMkLst>
        </pc:spChg>
        <pc:spChg chg="add mod">
          <ac:chgData name="Lee, Hyo-Sang" userId="63733686-7eee-43c2-ae7a-bb84710167fa" providerId="ADAL" clId="{FCA84DFB-66FA-4D99-85CF-B3BE533C0BE4}" dt="2025-02-27T01:46:22.798" v="728" actId="1076"/>
          <ac:spMkLst>
            <pc:docMk/>
            <pc:sldMk cId="2940661319" sldId="256"/>
            <ac:spMk id="26" creationId="{288B388F-1DF8-6009-B9F8-0F0A5FBDFF78}"/>
          </ac:spMkLst>
        </pc:spChg>
        <pc:spChg chg="add mod">
          <ac:chgData name="Lee, Hyo-Sang" userId="63733686-7eee-43c2-ae7a-bb84710167fa" providerId="ADAL" clId="{FCA84DFB-66FA-4D99-85CF-B3BE533C0BE4}" dt="2025-02-27T01:46:22.798" v="728" actId="1076"/>
          <ac:spMkLst>
            <pc:docMk/>
            <pc:sldMk cId="2940661319" sldId="256"/>
            <ac:spMk id="27" creationId="{F245A203-BCFB-8BAB-949E-3FA799E1286C}"/>
          </ac:spMkLst>
        </pc:spChg>
        <pc:spChg chg="add mod">
          <ac:chgData name="Lee, Hyo-Sang" userId="63733686-7eee-43c2-ae7a-bb84710167fa" providerId="ADAL" clId="{FCA84DFB-66FA-4D99-85CF-B3BE533C0BE4}" dt="2025-02-27T01:46:22.798" v="728" actId="1076"/>
          <ac:spMkLst>
            <pc:docMk/>
            <pc:sldMk cId="2940661319" sldId="256"/>
            <ac:spMk id="28" creationId="{CDAF97F4-B12E-E992-B58E-4B16FA336744}"/>
          </ac:spMkLst>
        </pc:spChg>
        <pc:spChg chg="add mod">
          <ac:chgData name="Lee, Hyo-Sang" userId="63733686-7eee-43c2-ae7a-bb84710167fa" providerId="ADAL" clId="{FCA84DFB-66FA-4D99-85CF-B3BE533C0BE4}" dt="2025-02-27T01:46:22.798" v="728" actId="1076"/>
          <ac:spMkLst>
            <pc:docMk/>
            <pc:sldMk cId="2940661319" sldId="256"/>
            <ac:spMk id="29" creationId="{05A046D5-DFEE-53E3-BD94-219203746EB8}"/>
          </ac:spMkLst>
        </pc:spChg>
        <pc:spChg chg="add mod">
          <ac:chgData name="Lee, Hyo-Sang" userId="63733686-7eee-43c2-ae7a-bb84710167fa" providerId="ADAL" clId="{FCA84DFB-66FA-4D99-85CF-B3BE533C0BE4}" dt="2025-02-27T01:46:22.798" v="728" actId="1076"/>
          <ac:spMkLst>
            <pc:docMk/>
            <pc:sldMk cId="2940661319" sldId="256"/>
            <ac:spMk id="30" creationId="{2204C9E8-0929-EE2D-51BB-EDED8B2B651B}"/>
          </ac:spMkLst>
        </pc:spChg>
        <pc:spChg chg="add mod">
          <ac:chgData name="Lee, Hyo-Sang" userId="63733686-7eee-43c2-ae7a-bb84710167fa" providerId="ADAL" clId="{FCA84DFB-66FA-4D99-85CF-B3BE533C0BE4}" dt="2025-02-27T01:46:22.798" v="728" actId="1076"/>
          <ac:spMkLst>
            <pc:docMk/>
            <pc:sldMk cId="2940661319" sldId="256"/>
            <ac:spMk id="31" creationId="{D876D0F1-3A7F-DA46-F29F-51EFB897CFC2}"/>
          </ac:spMkLst>
        </pc:spChg>
        <pc:graphicFrameChg chg="add mod modVis">
          <ac:chgData name="Lee, Hyo-Sang" userId="63733686-7eee-43c2-ae7a-bb84710167fa" providerId="ADAL" clId="{FCA84DFB-66FA-4D99-85CF-B3BE533C0BE4}" dt="2025-02-27T01:32:41.923" v="33"/>
          <ac:graphicFrameMkLst>
            <pc:docMk/>
            <pc:sldMk cId="2940661319" sldId="256"/>
            <ac:graphicFrameMk id="4" creationId="{09AB8A7A-1A01-9CD8-F87F-794C5374E67B}"/>
          </ac:graphicFrameMkLst>
        </pc:graphicFrameChg>
        <pc:picChg chg="add del mod">
          <ac:chgData name="Lee, Hyo-Sang" userId="63733686-7eee-43c2-ae7a-bb84710167fa" providerId="ADAL" clId="{FCA84DFB-66FA-4D99-85CF-B3BE533C0BE4}" dt="2025-02-27T01:37:45.334" v="559" actId="478"/>
          <ac:picMkLst>
            <pc:docMk/>
            <pc:sldMk cId="2940661319" sldId="256"/>
            <ac:picMk id="7" creationId="{2E1EB774-3962-8D53-4B3A-63592A431BFF}"/>
          </ac:picMkLst>
        </pc:picChg>
        <pc:picChg chg="add del mod">
          <ac:chgData name="Lee, Hyo-Sang" userId="63733686-7eee-43c2-ae7a-bb84710167fa" providerId="ADAL" clId="{FCA84DFB-66FA-4D99-85CF-B3BE533C0BE4}" dt="2025-02-27T01:37:45.843" v="560" actId="478"/>
          <ac:picMkLst>
            <pc:docMk/>
            <pc:sldMk cId="2940661319" sldId="256"/>
            <ac:picMk id="9" creationId="{337D6E95-7F39-FC0B-11B3-17138AAB0F39}"/>
          </ac:picMkLst>
        </pc:picChg>
        <pc:picChg chg="add del mod">
          <ac:chgData name="Lee, Hyo-Sang" userId="63733686-7eee-43c2-ae7a-bb84710167fa" providerId="ADAL" clId="{FCA84DFB-66FA-4D99-85CF-B3BE533C0BE4}" dt="2025-02-27T01:42:30.025" v="580" actId="478"/>
          <ac:picMkLst>
            <pc:docMk/>
            <pc:sldMk cId="2940661319" sldId="256"/>
            <ac:picMk id="11" creationId="{5BB0BD77-96D2-7E32-1293-03AE19A9D3C9}"/>
          </ac:picMkLst>
        </pc:picChg>
        <pc:picChg chg="add del mod">
          <ac:chgData name="Lee, Hyo-Sang" userId="63733686-7eee-43c2-ae7a-bb84710167fa" providerId="ADAL" clId="{FCA84DFB-66FA-4D99-85CF-B3BE533C0BE4}" dt="2025-02-27T01:42:02.567" v="573" actId="478"/>
          <ac:picMkLst>
            <pc:docMk/>
            <pc:sldMk cId="2940661319" sldId="256"/>
            <ac:picMk id="13" creationId="{ADA6B801-6F3D-89B2-E80E-EF6A4665904A}"/>
          </ac:picMkLst>
        </pc:picChg>
        <pc:picChg chg="add del mod">
          <ac:chgData name="Lee, Hyo-Sang" userId="63733686-7eee-43c2-ae7a-bb84710167fa" providerId="ADAL" clId="{FCA84DFB-66FA-4D99-85CF-B3BE533C0BE4}" dt="2025-02-27T01:42:03.084" v="574" actId="478"/>
          <ac:picMkLst>
            <pc:docMk/>
            <pc:sldMk cId="2940661319" sldId="256"/>
            <ac:picMk id="15" creationId="{096FF337-A856-3DD6-2C25-69F5EE642557}"/>
          </ac:picMkLst>
        </pc:picChg>
        <pc:picChg chg="add mod">
          <ac:chgData name="Lee, Hyo-Sang" userId="63733686-7eee-43c2-ae7a-bb84710167fa" providerId="ADAL" clId="{FCA84DFB-66FA-4D99-85CF-B3BE533C0BE4}" dt="2025-02-27T02:05:17.284" v="1749" actId="1076"/>
          <ac:picMkLst>
            <pc:docMk/>
            <pc:sldMk cId="2940661319" sldId="256"/>
            <ac:picMk id="17" creationId="{967E870F-8340-F7EC-35B2-FD62CF429A2A}"/>
          </ac:picMkLst>
        </pc:picChg>
        <pc:picChg chg="add mod">
          <ac:chgData name="Lee, Hyo-Sang" userId="63733686-7eee-43c2-ae7a-bb84710167fa" providerId="ADAL" clId="{FCA84DFB-66FA-4D99-85CF-B3BE533C0BE4}" dt="2025-02-27T01:46:22.798" v="728" actId="1076"/>
          <ac:picMkLst>
            <pc:docMk/>
            <pc:sldMk cId="2940661319" sldId="256"/>
            <ac:picMk id="19" creationId="{FF0EC695-0CC6-B0DE-92EB-62D9C2280516}"/>
          </ac:picMkLst>
        </pc:picChg>
        <pc:picChg chg="add mod">
          <ac:chgData name="Lee, Hyo-Sang" userId="63733686-7eee-43c2-ae7a-bb84710167fa" providerId="ADAL" clId="{FCA84DFB-66FA-4D99-85CF-B3BE533C0BE4}" dt="2025-02-27T01:46:22.798" v="728" actId="1076"/>
          <ac:picMkLst>
            <pc:docMk/>
            <pc:sldMk cId="2940661319" sldId="256"/>
            <ac:picMk id="21" creationId="{05AEB9FC-BAC6-4CD4-C860-5FA5DDBE7D61}"/>
          </ac:picMkLst>
        </pc:picChg>
        <pc:picChg chg="add del mod">
          <ac:chgData name="Lee, Hyo-Sang" userId="63733686-7eee-43c2-ae7a-bb84710167fa" providerId="ADAL" clId="{FCA84DFB-66FA-4D99-85CF-B3BE533C0BE4}" dt="2025-02-27T01:43:09.347" v="627" actId="478"/>
          <ac:picMkLst>
            <pc:docMk/>
            <pc:sldMk cId="2940661319" sldId="256"/>
            <ac:picMk id="23" creationId="{618FFFE2-7A82-4211-660D-98FC36B82E56}"/>
          </ac:picMkLst>
        </pc:picChg>
        <pc:picChg chg="add del mod">
          <ac:chgData name="Lee, Hyo-Sang" userId="63733686-7eee-43c2-ae7a-bb84710167fa" providerId="ADAL" clId="{FCA84DFB-66FA-4D99-85CF-B3BE533C0BE4}" dt="2025-02-27T01:45:40.548" v="723" actId="478"/>
          <ac:picMkLst>
            <pc:docMk/>
            <pc:sldMk cId="2940661319" sldId="256"/>
            <ac:picMk id="25" creationId="{B18332BB-0B7E-BF65-5094-26313D2DE8ED}"/>
          </ac:picMkLst>
        </pc:picChg>
      </pc:sldChg>
      <pc:sldMasterChg chg="addSp delSp modSp mod">
        <pc:chgData name="Lee, Hyo-Sang" userId="63733686-7eee-43c2-ae7a-bb84710167fa" providerId="ADAL" clId="{FCA84DFB-66FA-4D99-85CF-B3BE533C0BE4}" dt="2025-02-27T01:32:41.935" v="49"/>
        <pc:sldMasterMkLst>
          <pc:docMk/>
          <pc:sldMasterMk cId="359102724" sldId="2147483648"/>
        </pc:sldMasterMkLst>
        <pc:spChg chg="mod">
          <ac:chgData name="Lee, Hyo-Sang" userId="63733686-7eee-43c2-ae7a-bb84710167fa" providerId="ADAL" clId="{FCA84DFB-66FA-4D99-85CF-B3BE533C0BE4}" dt="2025-02-27T01:32:41.272" v="2" actId="948"/>
          <ac:spMkLst>
            <pc:docMk/>
            <pc:sldMasterMk cId="359102724" sldId="2147483648"/>
            <ac:spMk id="2" creationId="{31698B08-7D73-F2A2-1068-6EEF1619EC5E}"/>
          </ac:spMkLst>
        </pc:spChg>
        <pc:spChg chg="add del mod modVis">
          <ac:chgData name="Lee, Hyo-Sang" userId="63733686-7eee-43c2-ae7a-bb84710167fa" providerId="ADAL" clId="{FCA84DFB-66FA-4D99-85CF-B3BE533C0BE4}" dt="2025-02-27T01:32:41.927" v="35"/>
          <ac:spMkLst>
            <pc:docMk/>
            <pc:sldMasterMk cId="359102724" sldId="2147483648"/>
            <ac:spMk id="7" creationId="{7B0E8EC1-F495-0D46-89FC-8405AB5C0024}"/>
          </ac:spMkLst>
        </pc:spChg>
        <pc:graphicFrameChg chg="add mod ord modVis">
          <ac:chgData name="Lee, Hyo-Sang" userId="63733686-7eee-43c2-ae7a-bb84710167fa" providerId="ADAL" clId="{FCA84DFB-66FA-4D99-85CF-B3BE533C0BE4}" dt="2025-02-27T01:32:41.935" v="49"/>
          <ac:graphicFrameMkLst>
            <pc:docMk/>
            <pc:sldMasterMk cId="359102724" sldId="2147483648"/>
            <ac:graphicFrameMk id="8" creationId="{3229CB91-2DF8-DD34-2338-600734F28284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D753050-AF52-95A8-D138-382AA37136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8341D1EE-451B-3C23-887B-331B9A6D46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117E8F0-CEB6-A0AB-BB73-049FB60FD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52DF7FB-D73E-3057-F9F2-A39DAB02D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C7460F8-4A1C-5940-3B41-17F9E640F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350470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458EEB0-A583-7C23-FD8A-D2CF9F1D6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9826CE0-F413-5485-CCDF-843DF60852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516EE27-D2F4-1490-159B-B4E633B3EB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192F901-386F-A19E-A6D4-54A887D9BF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AFA03E6-B480-89BF-AF2E-16FB22C8F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858085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23A1A2D0-937C-8AE6-9679-4DDE1D2126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22A27A10-A600-DF0B-79B2-A29A9FF6FD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9D3C8E4-EEDB-0E95-2763-22EE00F48A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567FFD4-CBCD-769A-CD48-A81D0D531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0984E19-FDDF-5ABE-2650-96DF25D01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00205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68D4F46-ED02-BEFE-666E-AE1152700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87ABD0B-E075-178F-A554-7719DD5A43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27FB957-759F-1502-2F85-C3BFFDD4F8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9782968-61A0-A128-E0DC-B6DD9534E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CF8C265-C009-DB5A-9D3A-41781D066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848742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D080B95-8D2D-9269-4128-D2AC54770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3FC0905-4F27-80E3-BDA3-4949183E9E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1BFAC78-DA2F-BB84-4040-C9B02BE86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EA96A7B-5BA9-BFEF-7DF6-48A124C9C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619C15F-FE63-A929-795A-FF3C60712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38439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787D7CA-DFF9-122A-A16C-7EAC2416E3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11785CB-1534-83FB-6FD5-D763751CAA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FAC546C2-597A-3BE4-A995-CB8BDAA1EA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9DD04B3-7483-5618-3F25-245B909BE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06486C39-B594-DC50-63C6-880C762FF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85287BC9-DB48-8B4F-63BE-351C7D4BB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697179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17FFF95-CB32-32E4-5097-73EC239AC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E9F6FAD-EF37-16B4-27E8-5D8CD4853D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121F14A1-12D6-A8D5-DC85-13608D237F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9B140016-EBB3-9E5A-26F2-80B9ED9BA2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3C7446BF-7CD9-0809-0304-6979EF7882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5350C842-4F0D-A97B-93D4-221A697C81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2F869D9-97D8-54E5-63AF-1B7EF287B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44B3611-B157-CFB2-68C9-438CEC4F90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91918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34F2494-B767-9319-5D61-C8D31FBD28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4E779EAA-4105-0CBB-54D7-C7D56FAFD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CB3AE5F4-9B41-0426-8483-13CB7115B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D749073C-5FDE-391D-503C-BA0CB7515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877017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6F465CE4-C300-4F1C-AAA1-5F7A09BB8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984E8DB9-3F1A-208F-EA87-52E5D6C2F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998C6498-867A-9199-9666-67C219F49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83328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E70A3CC-4CB6-D721-F5D8-41984F1CB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1012E30-7022-75D8-581A-5A0DB7C953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077D224-5421-CBE5-3616-002D79AAD1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C0355BD-C24C-D2BD-28DA-E030516E3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3DBF8EA-4ACF-AB1F-CB12-998C42B5B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0EE8A8E1-0E25-1D2E-3308-A79BDC4B8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39501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8539D12-3BDB-1418-A1D2-E820CDC5A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8ABE7D6F-06AA-508F-8DE0-DE6A8BA1D6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E894B1CF-E425-2938-FFF9-907ED73AD7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F86542FC-0493-B411-63BA-BD9F72164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AAB457F-44A0-E10D-9F6C-DC0FE192F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30215F7-2C0B-F8D9-E09D-31D871B3E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52018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229CB91-2DF8-DD34-2338-600734F282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12881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14" imgW="306" imgH="306" progId="TCLayout.ActiveDocument.1">
                  <p:embed/>
                </p:oleObj>
              </mc:Choice>
              <mc:Fallback>
                <p:oleObj name="think-cell 슬라이드" r:id="rId1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29CB91-2DF8-DD34-2338-600734F28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1698B08-7D73-F2A2-1068-6EEF1619E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4C0F86D-B317-817E-235C-035FFA0D6E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DDD94FB-53A9-5562-9F28-64EC4DAC8F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F8DDBFF-EC28-4F88-955F-BC2BE371BC00}" type="datetimeFigureOut">
              <a:rPr lang="ko-KR" altLang="en-US" smtClean="0"/>
              <a:t>2025-02-2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D521195-E211-4342-ADF4-3102CAC010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C4F4D71-A0A3-2516-F425-DF0D3AC165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32130F2-FE3A-49C2-B27D-CFB447D74FA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9102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AB8A7A-1A01-9CD8-F87F-794C5374E6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3627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3" imgW="306" imgH="306" progId="TCLayout.ActiveDocument.1">
                  <p:embed/>
                </p:oleObj>
              </mc:Choice>
              <mc:Fallback>
                <p:oleObj name="think-cell 슬라이드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AB8A7A-1A01-9CD8-F87F-794C5374E6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00726A2-6D1F-B9DC-DA62-ABB9790C331D}"/>
              </a:ext>
            </a:extLst>
          </p:cNvPr>
          <p:cNvSpPr txBox="1"/>
          <p:nvPr/>
        </p:nvSpPr>
        <p:spPr>
          <a:xfrm>
            <a:off x="467662" y="142846"/>
            <a:ext cx="1119913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/>
              <a:t>요청사항 </a:t>
            </a:r>
            <a:r>
              <a:rPr lang="en-US" altLang="ko-KR" sz="1200" dirty="0"/>
              <a:t>: E-order </a:t>
            </a:r>
            <a:r>
              <a:rPr lang="ko-KR" altLang="en-US" sz="1200" dirty="0"/>
              <a:t>웹주문현황 </a:t>
            </a:r>
            <a:r>
              <a:rPr lang="en-US" altLang="ko-KR" sz="1200" dirty="0"/>
              <a:t>– </a:t>
            </a:r>
            <a:r>
              <a:rPr lang="ko-KR" altLang="en-US" sz="1200" dirty="0"/>
              <a:t>주문접수 </a:t>
            </a:r>
            <a:r>
              <a:rPr lang="en-US" altLang="ko-KR" sz="1200" dirty="0"/>
              <a:t>– </a:t>
            </a:r>
            <a:r>
              <a:rPr lang="ko-KR" altLang="en-US" sz="1200" dirty="0"/>
              <a:t>주문확정 과정</a:t>
            </a:r>
            <a:br>
              <a:rPr lang="en-US" altLang="ko-KR" sz="1200" dirty="0"/>
            </a:br>
            <a:br>
              <a:rPr lang="en-US" altLang="ko-KR" sz="1200" dirty="0"/>
            </a:br>
            <a:r>
              <a:rPr lang="en-US" altLang="ko-KR" sz="1200" dirty="0"/>
              <a:t>             1. </a:t>
            </a:r>
            <a:r>
              <a:rPr lang="ko-KR" altLang="en-US" sz="1200" dirty="0"/>
              <a:t>현재 오더분리 기준 그대로 유지</a:t>
            </a:r>
            <a:br>
              <a:rPr lang="en-US" altLang="ko-KR" sz="1200" dirty="0"/>
            </a:br>
            <a:r>
              <a:rPr lang="en-US" altLang="ko-KR" sz="1200" dirty="0"/>
              <a:t>             2. </a:t>
            </a:r>
            <a:r>
              <a:rPr lang="ko-KR" altLang="en-US" sz="1200" dirty="0"/>
              <a:t>옵션으로 주문확정 과정에서 </a:t>
            </a:r>
            <a:r>
              <a:rPr lang="en-US" altLang="ko-KR" sz="1200" dirty="0"/>
              <a:t>User</a:t>
            </a:r>
            <a:r>
              <a:rPr lang="ko-KR" altLang="en-US" sz="1200" dirty="0"/>
              <a:t>가 직접 주문을 그룹화 할 수 있도록 함</a:t>
            </a:r>
            <a:r>
              <a:rPr lang="en-US" altLang="ko-KR" sz="1200" dirty="0"/>
              <a:t>(Group </a:t>
            </a:r>
            <a:r>
              <a:rPr lang="ko-KR" altLang="en-US" sz="1200" dirty="0"/>
              <a:t>부여</a:t>
            </a:r>
            <a:r>
              <a:rPr lang="en-US" altLang="ko-KR" sz="1200" dirty="0"/>
              <a:t>)</a:t>
            </a:r>
            <a:br>
              <a:rPr lang="en-US" altLang="ko-KR" sz="1200" dirty="0"/>
            </a:br>
            <a:endParaRPr lang="en-US" altLang="ko-KR" sz="1200" dirty="0"/>
          </a:p>
          <a:p>
            <a:r>
              <a:rPr lang="ko-KR" altLang="en-US" sz="1200" dirty="0"/>
              <a:t>기능 </a:t>
            </a:r>
            <a:r>
              <a:rPr lang="en-US" altLang="ko-KR" sz="1200" dirty="0"/>
              <a:t>: </a:t>
            </a:r>
            <a:r>
              <a:rPr lang="ko-KR" altLang="en-US" sz="1200" dirty="0"/>
              <a:t>주문그룹을 사용자가 기입 할 수 있도록 하여</a:t>
            </a:r>
            <a:r>
              <a:rPr lang="en-US" altLang="ko-KR" sz="1200" dirty="0"/>
              <a:t> </a:t>
            </a:r>
            <a:r>
              <a:rPr lang="ko-KR" altLang="en-US" sz="1200" dirty="0"/>
              <a:t>의도적으로 같은 주문번호로 생성 할 수 있도록 함 </a:t>
            </a:r>
            <a:r>
              <a:rPr lang="en-US" altLang="ko-KR" sz="1200" dirty="0"/>
              <a:t>( </a:t>
            </a:r>
            <a:r>
              <a:rPr lang="ko-KR" altLang="en-US" sz="1200" dirty="0" err="1"/>
              <a:t>미기입시</a:t>
            </a:r>
            <a:r>
              <a:rPr lang="ko-KR" altLang="en-US" sz="1200" dirty="0"/>
              <a:t> 기존 방식 그대로 유지 </a:t>
            </a:r>
            <a:r>
              <a:rPr lang="en-US" altLang="ko-KR" sz="1200" dirty="0"/>
              <a:t>)</a:t>
            </a:r>
            <a:br>
              <a:rPr lang="en-US" altLang="ko-KR" sz="1200" dirty="0"/>
            </a:br>
            <a:r>
              <a:rPr lang="en-US" altLang="ko-KR" sz="1200" dirty="0"/>
              <a:t>         </a:t>
            </a:r>
            <a:br>
              <a:rPr lang="en-US" altLang="ko-KR" sz="1200" dirty="0"/>
            </a:br>
            <a:r>
              <a:rPr lang="en-US" altLang="ko-KR" sz="1200" dirty="0"/>
              <a:t>        </a:t>
            </a:r>
            <a:r>
              <a:rPr lang="ko-KR" altLang="en-US" sz="1200" b="1" dirty="0"/>
              <a:t>예외사항 </a:t>
            </a:r>
            <a:r>
              <a:rPr lang="en-US" altLang="ko-KR" sz="1200" b="1" dirty="0"/>
              <a:t>: </a:t>
            </a:r>
            <a:r>
              <a:rPr lang="ko-KR" altLang="en-US" sz="1200" b="1" dirty="0"/>
              <a:t>출고지가 다를 경우에 같은 주문 그룹을 입력 하였을 경우 주문 확정시 경고 메시지 출력</a:t>
            </a:r>
            <a:r>
              <a:rPr lang="en-US" altLang="ko-KR" sz="1200" b="1" dirty="0"/>
              <a:t>( </a:t>
            </a:r>
            <a:r>
              <a:rPr lang="ko-KR" altLang="en-US" sz="1200" b="1" dirty="0"/>
              <a:t>출고지가 다르게 입력되어 있습니다</a:t>
            </a:r>
            <a:r>
              <a:rPr lang="en-US" altLang="ko-KR" sz="1200" b="1" dirty="0"/>
              <a:t>-</a:t>
            </a:r>
            <a:r>
              <a:rPr lang="ko-KR" altLang="en-US" sz="1200" b="1" dirty="0"/>
              <a:t>진행불가 </a:t>
            </a:r>
            <a:r>
              <a:rPr lang="en-US" altLang="ko-KR" sz="1200" b="1" dirty="0"/>
              <a:t>)</a:t>
            </a:r>
            <a:br>
              <a:rPr lang="en-US" altLang="ko-KR" sz="1200" b="1" dirty="0"/>
            </a:br>
            <a:r>
              <a:rPr lang="en-US" altLang="ko-KR" sz="1200" dirty="0"/>
              <a:t>              </a:t>
            </a:r>
            <a:endParaRPr lang="ko-KR" altLang="en-US" sz="1200" dirty="0"/>
          </a:p>
        </p:txBody>
      </p:sp>
      <p:pic>
        <p:nvPicPr>
          <p:cNvPr id="17" name="그림 16">
            <a:extLst>
              <a:ext uri="{FF2B5EF4-FFF2-40B4-BE49-F238E27FC236}">
                <a16:creationId xmlns:a16="http://schemas.microsoft.com/office/drawing/2014/main" id="{967E870F-8340-F7EC-35B2-FD62CF429A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426" y="1664383"/>
            <a:ext cx="11183911" cy="3477110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FF0EC695-0CC6-B0DE-92EB-62D9C22805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899" y="5099355"/>
            <a:ext cx="371527" cy="1343212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05AEB9FC-BAC6-4CD4-C860-5FA5DDBE7D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5832" y="5065995"/>
            <a:ext cx="10332548" cy="1548971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288B388F-1DF8-6009-B9F8-0F0A5FBDFF78}"/>
              </a:ext>
            </a:extLst>
          </p:cNvPr>
          <p:cNvSpPr txBox="1"/>
          <p:nvPr/>
        </p:nvSpPr>
        <p:spPr>
          <a:xfrm>
            <a:off x="730313" y="5162808"/>
            <a:ext cx="106797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700" dirty="0"/>
              <a:t>주문 그룹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245A203-BCFB-8BAB-949E-3FA799E1286C}"/>
              </a:ext>
            </a:extLst>
          </p:cNvPr>
          <p:cNvSpPr txBox="1"/>
          <p:nvPr/>
        </p:nvSpPr>
        <p:spPr>
          <a:xfrm>
            <a:off x="698559" y="5404560"/>
            <a:ext cx="708220" cy="18466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600" dirty="0"/>
              <a:t>Input(number)</a:t>
            </a:r>
            <a:endParaRPr lang="ko-KR" altLang="en-US" sz="6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DAF97F4-B12E-E992-B58E-4B16FA336744}"/>
              </a:ext>
            </a:extLst>
          </p:cNvPr>
          <p:cNvSpPr txBox="1"/>
          <p:nvPr/>
        </p:nvSpPr>
        <p:spPr>
          <a:xfrm>
            <a:off x="680519" y="5631856"/>
            <a:ext cx="708220" cy="18466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600" dirty="0"/>
              <a:t>Input(number)</a:t>
            </a:r>
            <a:endParaRPr lang="ko-KR" altLang="en-US" sz="6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5A046D5-DFEE-53E3-BD94-219203746EB8}"/>
              </a:ext>
            </a:extLst>
          </p:cNvPr>
          <p:cNvSpPr txBox="1"/>
          <p:nvPr/>
        </p:nvSpPr>
        <p:spPr>
          <a:xfrm>
            <a:off x="680519" y="5859152"/>
            <a:ext cx="708220" cy="18466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600" dirty="0"/>
              <a:t>Input(number)</a:t>
            </a:r>
            <a:endParaRPr lang="ko-KR" altLang="en-US" sz="6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204C9E8-0929-EE2D-51BB-EDED8B2B651B}"/>
              </a:ext>
            </a:extLst>
          </p:cNvPr>
          <p:cNvSpPr txBox="1"/>
          <p:nvPr/>
        </p:nvSpPr>
        <p:spPr>
          <a:xfrm>
            <a:off x="680519" y="6086448"/>
            <a:ext cx="708220" cy="18466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600" dirty="0"/>
              <a:t>Input(number)</a:t>
            </a:r>
            <a:endParaRPr lang="ko-KR" altLang="en-US" sz="600" dirty="0"/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D876D0F1-3A7F-DA46-F29F-51EFB897CFC2}"/>
              </a:ext>
            </a:extLst>
          </p:cNvPr>
          <p:cNvSpPr/>
          <p:nvPr/>
        </p:nvSpPr>
        <p:spPr>
          <a:xfrm>
            <a:off x="638337" y="4812256"/>
            <a:ext cx="979216" cy="18027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40661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d1093ed-f639-41f3-8ff9-69f9a7d23765}" enabled="1" method="Standard" siteId="{ad200093-0cba-48cb-9853-16fb53354a4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112</Words>
  <Application>Microsoft Office PowerPoint</Application>
  <PresentationFormat>와이드스크린</PresentationFormat>
  <Paragraphs>7</Paragraphs>
  <Slides>1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2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5" baseType="lpstr">
      <vt:lpstr>맑은 고딕</vt:lpstr>
      <vt:lpstr>Arial</vt:lpstr>
      <vt:lpstr>Office 테마</vt:lpstr>
      <vt:lpstr>think-cell 슬라이드</vt:lpstr>
      <vt:lpstr>PowerPoint 프레젠테이션</vt:lpstr>
    </vt:vector>
  </TitlesOfParts>
  <Company>Knau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ee, Hyo-Sang</dc:creator>
  <cp:lastModifiedBy>Lee, Hyo-Sang</cp:lastModifiedBy>
  <cp:revision>1</cp:revision>
  <cp:lastPrinted>2025-02-27T01:54:30Z</cp:lastPrinted>
  <dcterms:created xsi:type="dcterms:W3CDTF">2025-02-27T01:32:35Z</dcterms:created>
  <dcterms:modified xsi:type="dcterms:W3CDTF">2025-02-27T02:05:21Z</dcterms:modified>
</cp:coreProperties>
</file>